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62" r:id="rId13"/>
    <p:sldId id="745" r:id="rId14"/>
    <p:sldId id="758" r:id="rId15"/>
    <p:sldId id="759" r:id="rId16"/>
    <p:sldId id="757" r:id="rId17"/>
    <p:sldId id="738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62"/>
            <p14:sldId id="745"/>
            <p14:sldId id="758"/>
            <p14:sldId id="759"/>
            <p14:sldId id="757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CC"/>
    <a:srgbClr val="FBFBFB"/>
    <a:srgbClr val="008E22"/>
    <a:srgbClr val="797600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4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02838063439065E-2"/>
          <c:y val="0.141602634467618"/>
          <c:w val="0.88021702838063443"/>
          <c:h val="0.716794731064763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570951585976628"/>
                  <c:y val="2.195389681668496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    80,228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8831385642737896"/>
                  <c:y val="2.195389681668496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74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84.2</c:v>
                </c:pt>
                <c:pt idx="1">
                  <c:v>170.98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209-4DAD-8964-50544C69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8684680"/>
        <c:axId val="338681936"/>
      </c:barChart>
      <c:catAx>
        <c:axId val="3386846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8681936"/>
        <c:crosses val="min"/>
        <c:auto val="0"/>
        <c:lblAlgn val="ctr"/>
        <c:lblOffset val="100"/>
        <c:noMultiLvlLbl val="0"/>
      </c:catAx>
      <c:valAx>
        <c:axId val="338681936"/>
        <c:scaling>
          <c:orientation val="minMax"/>
          <c:max val="170.98699999999999"/>
          <c:min val="0"/>
        </c:scaling>
        <c:delete val="1"/>
        <c:axPos val="t"/>
        <c:numFmt formatCode="#\ ##0.0;&quot;-&quot;#\ ##0.0" sourceLinked="1"/>
        <c:majorTickMark val="out"/>
        <c:minorTickMark val="none"/>
        <c:tickLblPos val="nextTo"/>
        <c:crossAx val="338684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3,058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46-4936-96C0-6384BDB627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4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046-4936-96C0-6384BDB62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8684288"/>
        <c:axId val="338682720"/>
      </c:barChart>
      <c:catAx>
        <c:axId val="3386842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8682720"/>
        <c:crosses val="min"/>
        <c:auto val="0"/>
        <c:lblAlgn val="ctr"/>
        <c:lblOffset val="100"/>
        <c:noMultiLvlLbl val="0"/>
      </c:catAx>
      <c:valAx>
        <c:axId val="338682720"/>
        <c:scaling>
          <c:orientation val="minMax"/>
          <c:max val="44.7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8684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22872340425531915"/>
          <c:w val="0.46327077747989276"/>
          <c:h val="0.542553191489361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5460992907801418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051,79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C41-4121-BED2-4D0E928C94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82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C41-4121-BED2-4D0E928C9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8683504"/>
        <c:axId val="338685072"/>
      </c:barChart>
      <c:catAx>
        <c:axId val="3386835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8685072"/>
        <c:crosses val="min"/>
        <c:auto val="0"/>
        <c:lblAlgn val="ctr"/>
        <c:lblOffset val="100"/>
        <c:noMultiLvlLbl val="0"/>
      </c:catAx>
      <c:valAx>
        <c:axId val="338685072"/>
        <c:scaling>
          <c:orientation val="minMax"/>
          <c:max val="3823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8683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544235924932977"/>
          <c:y val="0.19111111111111112"/>
          <c:w val="0.26809651474530832"/>
          <c:h val="0.61777777777777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769436997319036"/>
                  <c:y val="2.962962962962962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FD1-403A-96DA-55347B9545C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2230563002680965"/>
                  <c:y val="2.962962962962962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FD1-403A-96DA-55347B9545C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832.67</c:v>
                </c:pt>
                <c:pt idx="1">
                  <c:v>1908.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FD1-403A-96DA-55347B954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6703488"/>
        <c:axId val="336700744"/>
      </c:barChart>
      <c:catAx>
        <c:axId val="336703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6700744"/>
        <c:crosses val="min"/>
        <c:auto val="0"/>
        <c:lblAlgn val="ctr"/>
        <c:lblOffset val="100"/>
        <c:noMultiLvlLbl val="0"/>
      </c:catAx>
      <c:valAx>
        <c:axId val="336700744"/>
        <c:scaling>
          <c:orientation val="minMax"/>
          <c:max val="1908.6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6703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2179054054054054"/>
          <c:w val="0.8309222423146474"/>
          <c:h val="0.56418918918918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3.3783783783783786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4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9D2-44DC-ABDB-976D6F3973D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86.787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9D2-44DC-ABDB-976D6F397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6701528"/>
        <c:axId val="336702312"/>
      </c:barChart>
      <c:catAx>
        <c:axId val="3367015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6702312"/>
        <c:crosses val="min"/>
        <c:auto val="0"/>
        <c:lblAlgn val="ctr"/>
        <c:lblOffset val="100"/>
        <c:noMultiLvlLbl val="0"/>
      </c:catAx>
      <c:valAx>
        <c:axId val="336702312"/>
        <c:scaling>
          <c:orientation val="minMax"/>
          <c:max val="86.787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6701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73D-463F-A438-84419A7CFA8E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73D-463F-A438-84419A7CFA8E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73D-463F-A438-84419A7CFA8E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73D-463F-A438-84419A7CFA8E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373D-463F-A438-84419A7CFA8E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73D-463F-A438-84419A7CFA8E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73D-463F-A438-84419A7CFA8E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58.221468716614801</c:v>
                </c:pt>
                <c:pt idx="1">
                  <c:v>6.9069627014724331</c:v>
                </c:pt>
                <c:pt idx="2">
                  <c:v>2.2992243021041383</c:v>
                </c:pt>
                <c:pt idx="3">
                  <c:v>25.342561196525615</c:v>
                </c:pt>
                <c:pt idx="4">
                  <c:v>4.0364159970272651</c:v>
                </c:pt>
                <c:pt idx="5">
                  <c:v>0.28333875238051004</c:v>
                </c:pt>
                <c:pt idx="6">
                  <c:v>2.91002833387523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373D-463F-A438-84419A7CF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622030237581E-2"/>
          <c:y val="0.18235294117647058"/>
          <c:w val="0.95507559395248376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21568627450980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865,03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0;"-"#\ ##0.00</c:formatCode>
                <c:ptCount val="2"/>
                <c:pt idx="0">
                  <c:v>1832.67</c:v>
                </c:pt>
                <c:pt idx="1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42D-4DAF-924B-1BC1293B9E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4787736"/>
        <c:axId val="334788912"/>
      </c:barChart>
      <c:catAx>
        <c:axId val="334787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4788912"/>
        <c:crosses val="min"/>
        <c:auto val="0"/>
        <c:lblAlgn val="ctr"/>
        <c:lblOffset val="100"/>
        <c:noMultiLvlLbl val="0"/>
      </c:catAx>
      <c:valAx>
        <c:axId val="334788912"/>
        <c:scaling>
          <c:orientation val="minMax"/>
          <c:max val="1882.82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334787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914677190633408E-2"/>
          <c:y val="0.1648148148148148"/>
          <c:w val="0.95149415992959285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26.803000000000001</c:v>
                </c:pt>
                <c:pt idx="1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00E-48AF-AF57-6324E7B73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4789696"/>
        <c:axId val="334791264"/>
      </c:barChart>
      <c:catAx>
        <c:axId val="334789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34791264"/>
        <c:crosses val="min"/>
        <c:auto val="0"/>
        <c:lblAlgn val="ctr"/>
        <c:lblOffset val="100"/>
        <c:noMultiLvlLbl val="0"/>
      </c:catAx>
      <c:valAx>
        <c:axId val="334791264"/>
        <c:scaling>
          <c:orientation val="minMax"/>
          <c:max val="29.38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334789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6.04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6.04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8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0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5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2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1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xmlns="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xmlns="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xmlns="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xmlns="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xmlns="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5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7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2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4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chart" Target="../charts/chart7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8.xml"/><Relationship Id="rId19" Type="http://schemas.openxmlformats.org/officeDocument/2006/relationships/chart" Target="../charts/chart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oleObject" Target="../embeddings/oleObject26.bin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9.xml"/><Relationship Id="rId33" Type="http://schemas.openxmlformats.org/officeDocument/2006/relationships/chart" Target="../charts/chart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chart" Target="../charts/chart5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chart" Target="../charts/chart1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chart" Target="../charts/chart4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1.emf"/><Relationship Id="rId30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4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Апрель  2026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</a:t>
            </a:r>
            <a:r>
              <a:rPr lang="ru-RU" sz="1800" dirty="0" smtClean="0"/>
              <a:t>2025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56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44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692627"/>
              </p:ext>
            </p:extLst>
          </p:nvPr>
        </p:nvGraphicFramePr>
        <p:xfrm>
          <a:off x="2403475" y="1577975"/>
          <a:ext cx="3675063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2855119" y="3030538"/>
            <a:ext cx="920468" cy="16033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1068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4700624" y="3030538"/>
            <a:ext cx="842926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516688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727825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3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39940687"/>
              </p:ext>
            </p:extLst>
          </p:nvPr>
        </p:nvGraphicFramePr>
        <p:xfrm>
          <a:off x="2413000" y="3597275"/>
          <a:ext cx="3665538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29448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2636892" y="5145088"/>
            <a:ext cx="135500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4739663" y="5145088"/>
            <a:ext cx="805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5995988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207125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8034391" y="1220788"/>
            <a:ext cx="3655299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232384" y="1846263"/>
            <a:ext cx="3521907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685141" y="1831975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317499" y="6116423"/>
            <a:ext cx="7184132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/>
              <a:t>Проводится работа по формированию </a:t>
            </a:r>
            <a:r>
              <a:rPr lang="ru-RU" sz="1000" dirty="0" smtClean="0"/>
              <a:t>заявок </a:t>
            </a:r>
            <a:r>
              <a:rPr lang="ru-RU" sz="1000" dirty="0"/>
              <a:t>на утверждение пятилетних инвестиционной программы и </a:t>
            </a:r>
            <a:r>
              <a:rPr lang="ru-RU" sz="1000" dirty="0" smtClean="0"/>
              <a:t>тарифов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07288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формация об оказываемой услуге – подача воды по распределительным сетям (малая мощность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704850"/>
            <a:ext cx="11604535" cy="6026151"/>
          </a:xfrm>
        </p:spPr>
        <p:txBody>
          <a:bodyPr anchor="ctr"/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1. Информация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400" b="1" kern="0" dirty="0"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/>
              <a:t>В </a:t>
            </a:r>
            <a:r>
              <a:rPr lang="ru-RU" sz="1400" dirty="0" smtClean="0"/>
              <a:t>2025 </a:t>
            </a:r>
            <a:r>
              <a:rPr lang="ru-RU" sz="1400" dirty="0"/>
              <a:t>году фактическая сумма амортизационных отчислений по основным средствам, задействованным при оказании регулируемой услуги, составила </a:t>
            </a:r>
            <a:r>
              <a:rPr lang="ru-RU" sz="1400" b="1" dirty="0">
                <a:solidFill>
                  <a:schemeClr val="accent1"/>
                </a:solidFill>
              </a:rPr>
              <a:t>10 </a:t>
            </a:r>
            <a:r>
              <a:rPr lang="ru-RU" sz="1400" b="1" dirty="0" smtClean="0">
                <a:solidFill>
                  <a:schemeClr val="accent1"/>
                </a:solidFill>
              </a:rPr>
              <a:t>892 </a:t>
            </a:r>
            <a:r>
              <a:rPr lang="ru-RU" sz="1400" dirty="0"/>
              <a:t>тыс. </a:t>
            </a:r>
            <a:r>
              <a:rPr lang="ru-RU" sz="1400" dirty="0" smtClean="0"/>
              <a:t>тенге. </a:t>
            </a:r>
            <a:r>
              <a:rPr lang="ru-RU" sz="1400" dirty="0"/>
              <a:t>В утвержденной  тарифной смете предусмотрена сумма амортизационных отчислений в размере </a:t>
            </a:r>
            <a:endParaRPr lang="ru-RU" sz="1400" dirty="0" smtClean="0"/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solidFill>
                  <a:schemeClr val="accent1"/>
                </a:solidFill>
              </a:rPr>
              <a:t>5 955 </a:t>
            </a:r>
            <a:r>
              <a:rPr lang="ru-RU" sz="1400" dirty="0"/>
              <a:t>тыс. </a:t>
            </a:r>
            <a:r>
              <a:rPr lang="ru-RU" sz="1400" dirty="0" smtClean="0"/>
              <a:t>тенге.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Сумма </a:t>
            </a:r>
            <a:r>
              <a:rPr lang="ru-RU" sz="1400" dirty="0"/>
              <a:t>амортизационных отчислений, предусмотренная в утвержденной тарифной смете, направлена в </a:t>
            </a:r>
            <a:r>
              <a:rPr lang="ru-RU" sz="1400" dirty="0" smtClean="0"/>
              <a:t>2025 </a:t>
            </a:r>
            <a:r>
              <a:rPr lang="ru-RU" sz="1400" dirty="0"/>
              <a:t>году на выполнение следующих мероприятий по капитальному ремонту на общую сумму </a:t>
            </a:r>
            <a:r>
              <a:rPr lang="ru-RU" sz="1400" b="1" dirty="0">
                <a:solidFill>
                  <a:schemeClr val="accent1"/>
                </a:solidFill>
              </a:rPr>
              <a:t>71 544,42 </a:t>
            </a:r>
            <a:r>
              <a:rPr lang="ru-RU" sz="1400" dirty="0" smtClean="0"/>
              <a:t>тыс</a:t>
            </a:r>
            <a:r>
              <a:rPr lang="ru-RU" sz="1400" dirty="0"/>
              <a:t>. тенге:</a:t>
            </a:r>
          </a:p>
          <a:p>
            <a:r>
              <a:rPr lang="ru-RU" sz="1400" dirty="0" smtClean="0"/>
              <a:t>насоса </a:t>
            </a:r>
            <a:r>
              <a:rPr lang="ru-RU" sz="1400" dirty="0"/>
              <a:t>НПК №</a:t>
            </a:r>
            <a:r>
              <a:rPr lang="ru-RU" sz="1400" dirty="0" smtClean="0"/>
              <a:t>1 2025, насоса </a:t>
            </a:r>
            <a:r>
              <a:rPr lang="ru-RU" sz="1400" dirty="0"/>
              <a:t>НПК №</a:t>
            </a:r>
            <a:r>
              <a:rPr lang="ru-RU" sz="1400" dirty="0" smtClean="0"/>
              <a:t>2, </a:t>
            </a:r>
            <a:r>
              <a:rPr lang="ru-RU" sz="1400" dirty="0"/>
              <a:t>насос 2 №3 6НДС </a:t>
            </a:r>
            <a:r>
              <a:rPr lang="ru-RU" sz="1400" dirty="0" smtClean="0"/>
              <a:t>2025, </a:t>
            </a:r>
            <a:r>
              <a:rPr lang="ru-RU" sz="1400" dirty="0"/>
              <a:t>НДК№1 </a:t>
            </a:r>
            <a:r>
              <a:rPr lang="ru-RU" sz="1400" dirty="0" smtClean="0"/>
              <a:t>2025, ячеек </a:t>
            </a:r>
            <a:r>
              <a:rPr lang="ru-RU" sz="1400" dirty="0"/>
              <a:t>мокрого коагулянта №</a:t>
            </a:r>
            <a:r>
              <a:rPr lang="ru-RU" sz="1400" dirty="0" smtClean="0"/>
              <a:t>2, 3, мех</a:t>
            </a:r>
            <a:r>
              <a:rPr lang="ru-RU" sz="1400" dirty="0"/>
              <a:t>. фильтр №4 </a:t>
            </a:r>
            <a:r>
              <a:rPr lang="ru-RU" sz="1400" dirty="0" smtClean="0"/>
              <a:t>ж/б, ячеек </a:t>
            </a:r>
            <a:r>
              <a:rPr lang="ru-RU" sz="1400" dirty="0"/>
              <a:t>хранения </a:t>
            </a:r>
            <a:r>
              <a:rPr lang="ru-RU" sz="1400" dirty="0" smtClean="0"/>
              <a:t>коагулянта №2,3</a:t>
            </a:r>
            <a:endParaRPr lang="ru-RU" sz="1400" dirty="0"/>
          </a:p>
          <a:p>
            <a:pPr algn="just"/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АО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«ЕЭК»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показатели качества и надежности регулируемых услуг и показатели эффективности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 </a:t>
            </a:r>
            <a:r>
              <a:rPr lang="ru-RU" sz="1400" smtClean="0">
                <a:ea typeface="Calibri" panose="020F0502020204030204" pitchFamily="34" charset="0"/>
                <a:cs typeface="Times New Roman" panose="02020603050405020304" pitchFamily="18" charset="0"/>
              </a:rPr>
              <a:t>уполномоченным органом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</a:t>
            </a:r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утверждались.</a:t>
            </a:r>
          </a:p>
          <a:p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2025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год</a:t>
            </a:r>
          </a:p>
          <a:p>
            <a:r>
              <a:rPr lang="ru-RU" sz="1400" dirty="0">
                <a:latin typeface="Arial (Основной текст)"/>
              </a:rPr>
              <a:t>Затраты АО </a:t>
            </a:r>
            <a:r>
              <a:rPr lang="ru-RU" sz="1400" dirty="0" smtClean="0">
                <a:latin typeface="Arial (Основной текст)"/>
              </a:rPr>
              <a:t>«ЕЭК» </a:t>
            </a:r>
            <a:r>
              <a:rPr lang="ru-RU" sz="1400" dirty="0">
                <a:latin typeface="Arial (Основной текст)"/>
              </a:rPr>
              <a:t>за </a:t>
            </a:r>
            <a:r>
              <a:rPr lang="ru-RU" sz="1400" dirty="0" smtClean="0">
                <a:latin typeface="Arial (Основной текст)"/>
              </a:rPr>
              <a:t>2025 </a:t>
            </a:r>
            <a:r>
              <a:rPr lang="ru-RU" sz="1400" dirty="0">
                <a:latin typeface="Arial (Основной текст)"/>
              </a:rPr>
              <a:t>год на оказание </a:t>
            </a:r>
            <a:r>
              <a:rPr lang="ru-RU" sz="1400" dirty="0" smtClean="0">
                <a:latin typeface="Arial (Основной текст)"/>
              </a:rPr>
              <a:t>услуги </a:t>
            </a:r>
            <a:r>
              <a:rPr lang="ru-RU" sz="1400" b="1" dirty="0">
                <a:solidFill>
                  <a:schemeClr val="accent1"/>
                </a:solidFill>
              </a:rPr>
              <a:t>66 055,96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, превышение против утвержденной тарифной </a:t>
            </a:r>
            <a:r>
              <a:rPr lang="ru-RU" sz="1400" dirty="0" smtClean="0">
                <a:latin typeface="Arial (Основной текст)"/>
              </a:rPr>
              <a:t>сметы на </a:t>
            </a:r>
            <a:r>
              <a:rPr lang="ru-RU" sz="1400" b="1" dirty="0">
                <a:solidFill>
                  <a:schemeClr val="accent1"/>
                </a:solidFill>
              </a:rPr>
              <a:t>334</a:t>
            </a:r>
            <a:r>
              <a:rPr lang="ru-RU" sz="1400" dirty="0" smtClean="0">
                <a:latin typeface="Arial (Основной текст)"/>
              </a:rPr>
              <a:t>%.</a:t>
            </a:r>
            <a:endParaRPr lang="ru-RU" sz="1400" dirty="0">
              <a:latin typeface="Arial (Основной текст)"/>
            </a:endParaRPr>
          </a:p>
          <a:p>
            <a:r>
              <a:rPr lang="ru-RU" sz="1400" dirty="0"/>
              <a:t>Перерасход затрат в целом по тарифной смете обусловлен ростом заработной платы, стоимости материалов, ремонта, услуг сторонних организаций и наличием затрат, которые не были предусмотрены в утверждённой тарифной смете</a:t>
            </a:r>
            <a:r>
              <a:rPr lang="ru-RU" sz="1400" dirty="0" smtClean="0">
                <a:latin typeface="Arial (Основной текст)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3. Информация </a:t>
            </a:r>
            <a:r>
              <a:rPr lang="ru-RU" sz="1400" b="1" dirty="0">
                <a:latin typeface="Arial (Основной текст)"/>
              </a:rPr>
              <a:t>об объемах предоставленных услуг </a:t>
            </a:r>
            <a:endParaRPr lang="en-US" sz="1400" b="1" dirty="0">
              <a:latin typeface="Arial (Основной текст)"/>
            </a:endParaRPr>
          </a:p>
          <a:p>
            <a:pPr algn="just"/>
            <a:r>
              <a:rPr lang="ru-RU" sz="1400" dirty="0">
                <a:latin typeface="Arial (Основной текст)"/>
              </a:rPr>
              <a:t>Объем оказанных услуг составил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406,66 </a:t>
            </a:r>
            <a:r>
              <a:rPr lang="ru-RU" sz="1400" dirty="0" smtClean="0">
                <a:latin typeface="Arial (Основной текст)"/>
              </a:rPr>
              <a:t>тыс. м3. </a:t>
            </a:r>
            <a:r>
              <a:rPr lang="ru-RU" sz="1400" dirty="0"/>
              <a:t>Увеличение объема реализации произошло за счет увеличения спроса потребителя регулируемой услуги.</a:t>
            </a:r>
            <a:endParaRPr lang="ru-RU" sz="1400" dirty="0">
              <a:latin typeface="Arial (Основной текст)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4. Информация </a:t>
            </a:r>
            <a:r>
              <a:rPr lang="ru-RU" sz="1400" b="1" dirty="0">
                <a:latin typeface="Arial (Основной текст)"/>
              </a:rPr>
              <a:t>об основных финансово-экономических показателях </a:t>
            </a:r>
          </a:p>
          <a:p>
            <a:r>
              <a:rPr lang="ru-RU" sz="1400" dirty="0">
                <a:latin typeface="Arial (Основной текст)"/>
              </a:rPr>
              <a:t>Доход </a:t>
            </a:r>
            <a:r>
              <a:rPr lang="ru-RU" sz="1400" dirty="0" smtClean="0">
                <a:latin typeface="Arial (Основной текст)"/>
              </a:rPr>
              <a:t>–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17 083,95 </a:t>
            </a:r>
            <a:r>
              <a:rPr lang="ru-RU" sz="1400" dirty="0"/>
              <a:t>  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, </a:t>
            </a:r>
          </a:p>
          <a:p>
            <a:r>
              <a:rPr lang="ru-RU" sz="1400" dirty="0">
                <a:latin typeface="Arial (Основной текст)"/>
              </a:rPr>
              <a:t>Затраты –</a:t>
            </a:r>
            <a:r>
              <a:rPr lang="ru-RU" sz="1400" dirty="0" smtClean="0">
                <a:latin typeface="Arial (Основной текст)"/>
              </a:rPr>
              <a:t>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66 055,96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. </a:t>
            </a:r>
          </a:p>
          <a:p>
            <a:r>
              <a:rPr lang="ru-RU" sz="1400" dirty="0">
                <a:latin typeface="Arial (Основной текст)"/>
              </a:rPr>
              <a:t>Убыток </a:t>
            </a:r>
            <a:r>
              <a:rPr lang="ru-RU" sz="1400" dirty="0" smtClean="0">
                <a:latin typeface="Arial (Основной текст)"/>
              </a:rPr>
              <a:t>–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48 972,01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 </a:t>
            </a:r>
            <a:endParaRPr lang="ru-RU" sz="1400" dirty="0" smtClean="0">
              <a:latin typeface="Arial (Основной текст)"/>
            </a:endParaRPr>
          </a:p>
          <a:p>
            <a:endParaRPr lang="ru-RU" sz="1400" dirty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 стороны потребителей на качество предоставляемых услуг за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25 год отсутствую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974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4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9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январь-июль 2025 г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– 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1 8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3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2,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67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600" dirty="0" smtClean="0"/>
              <a:t>тенге/Гкал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Август-декабрь 2025 г.-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1908,69</a:t>
            </a:r>
            <a:r>
              <a:rPr lang="ru-RU" sz="1600" dirty="0" smtClean="0"/>
              <a:t> тенге/</a:t>
            </a:r>
            <a:r>
              <a:rPr lang="ru-RU" sz="1600" dirty="0" err="1" smtClean="0"/>
              <a:t>гкал</a:t>
            </a:r>
            <a:r>
              <a:rPr lang="ru-RU" sz="1600" dirty="0" smtClean="0"/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42,01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</a:t>
            </a:r>
            <a:r>
              <a:rPr lang="ru-RU" sz="1600" dirty="0" smtClean="0">
                <a:solidFill>
                  <a:prstClr val="black"/>
                </a:solidFill>
              </a:rPr>
              <a:t>деятельности уполномоченным органом </a:t>
            </a:r>
            <a:r>
              <a:rPr lang="ru-RU" sz="1600" b="1" dirty="0" smtClean="0">
                <a:solidFill>
                  <a:prstClr val="black"/>
                </a:solidFill>
              </a:rPr>
              <a:t>не </a:t>
            </a:r>
            <a:r>
              <a:rPr lang="ru-RU" sz="1600" b="1" dirty="0">
                <a:solidFill>
                  <a:prstClr val="black"/>
                </a:solidFill>
              </a:rPr>
              <a:t>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6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б исполнении утвержденной инвестиционной программы на  2025 год по итогам </a:t>
            </a:r>
            <a:r>
              <a:rPr lang="ru-RU" b="0" smtClean="0">
                <a:solidFill>
                  <a:schemeClr val="accent1"/>
                </a:solidFill>
              </a:rPr>
              <a:t>2025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932955"/>
              </p:ext>
            </p:extLst>
          </p:nvPr>
        </p:nvGraphicFramePr>
        <p:xfrm>
          <a:off x="63374" y="923452"/>
          <a:ext cx="12041111" cy="5765820"/>
        </p:xfrm>
        <a:graphic>
          <a:graphicData uri="http://schemas.openxmlformats.org/drawingml/2006/table">
            <a:tbl>
              <a:tblPr/>
              <a:tblGrid>
                <a:gridCol w="202097"/>
                <a:gridCol w="839970"/>
                <a:gridCol w="1274656"/>
                <a:gridCol w="390620"/>
                <a:gridCol w="411180"/>
                <a:gridCol w="442017"/>
                <a:gridCol w="462576"/>
                <a:gridCol w="555092"/>
                <a:gridCol w="516519"/>
                <a:gridCol w="511124"/>
                <a:gridCol w="495601"/>
                <a:gridCol w="656006"/>
                <a:gridCol w="596210"/>
                <a:gridCol w="318664"/>
                <a:gridCol w="339223"/>
                <a:gridCol w="318664"/>
                <a:gridCol w="328943"/>
                <a:gridCol w="267267"/>
                <a:gridCol w="308384"/>
                <a:gridCol w="328944"/>
                <a:gridCol w="246707"/>
                <a:gridCol w="277546"/>
                <a:gridCol w="267266"/>
                <a:gridCol w="267267"/>
                <a:gridCol w="503695"/>
                <a:gridCol w="914873"/>
              </a:tblGrid>
              <a:tr h="458221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чет о прибылях и убытках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умма инвестиционной программ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программы, тысяч тенге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  <a:endParaRPr lang="ru-RU" sz="6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5517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регулируемых услуг и обслуживаемая территория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 измерения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отклонения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ственные средства (тыс. тенге)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емные средств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ные средств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лучшение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изводствен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ых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казателей, %, по годам реализации в зависимости о т утвержденной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онн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й программы</a:t>
                      </a:r>
                      <a:endParaRPr lang="ru-RU" sz="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7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быль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5888"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39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изводство </a:t>
                      </a:r>
                    </a:p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пловой энергии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основного и пикового бойлеров блоков № 2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4 234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461,60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4,7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3,1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объема работ, стоимости ТМЦ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 81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е установлено утвержденной инвестиционной программой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е установлено утвержденной инвестиционной программ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е установлено утвержденной инвестиционной программой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я отсутствую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ные  работы направлены на поддержание основных средств Электрической станции в рабочем состоянии, что позволяет обеспечить бесперебойную подачу тепла потребителям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36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основного и пикового бойлеров блоков № 4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59,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7,4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8,0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24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520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трубопроводов обвязки насоса и запорной арматуры СН-3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2,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751,2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8,9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,7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сетевого насоса  №5. Капитальный ремонт трубопроводов обвязки насоса и запорной арматуры СН-5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141,0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7,26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6,26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7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1208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4175"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сетевого насоса  №6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028,7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6,0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7,3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0.2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3170">
                <a:tc>
                  <a:txBody>
                    <a:bodyPr/>
                    <a:lstStyle/>
                    <a:p>
                      <a:pPr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4 23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26 803,0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 776,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973,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13 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539089" y="6373640"/>
          <a:ext cx="208280" cy="266383"/>
        </p:xfrm>
        <a:graphic>
          <a:graphicData uri="http://schemas.openxmlformats.org/drawingml/2006/table">
            <a:tbl>
              <a:tblPr/>
              <a:tblGrid>
                <a:gridCol w="208280"/>
              </a:tblGrid>
              <a:tr h="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2025 год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739111"/>
              </p:ext>
            </p:extLst>
          </p:nvPr>
        </p:nvGraphicFramePr>
        <p:xfrm>
          <a:off x="427091" y="901897"/>
          <a:ext cx="11170398" cy="4965736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021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82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Предусмотрено в тарифной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е (приказ  </a:t>
                      </a: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№ </a:t>
                      </a:r>
                      <a:r>
                        <a:rPr lang="en-US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105-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Д </a:t>
                      </a: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en-US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7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11.202</a:t>
                      </a:r>
                      <a:r>
                        <a:rPr lang="en-US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5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) </a:t>
                      </a:r>
                      <a:endParaRPr lang="ru-RU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4 45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6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0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7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9 71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2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8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цен на сырье и материал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17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8 8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ебестоимости добычи угля, </a:t>
                      </a:r>
                      <a:r>
                        <a:rPr lang="ru-RU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д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тариф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75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80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07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13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2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3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2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роста  среднемесячной заработной платы в 2025 г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75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8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2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Фактические затраты сложились исходя из фактической численности, не превышающей нормативную, и ставок согласно требованиям законодательств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3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профес.пенсион.взнос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5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 за счет роста заработной плат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0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за счет роста ставки ОСМС с 1 января 2022 г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5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0 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за счет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639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 183</a:t>
                      </a:r>
                      <a:endParaRPr lang="ru-RU" sz="9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связано с ростом цен на материалы, запчасти, услуги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1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354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емли (плата за использование земельных ресурсов) </a:t>
                      </a:r>
                    </a:p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связан с заключением новых договоров аренды земельных участков,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в связи с получением в аренду в 2024-2025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гг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году новых земельных участков</a:t>
                      </a:r>
                      <a:endParaRPr lang="ru-RU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плата за использование водных ресурсов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Увеличение произошло за счет роста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ост налога на имущество произошел за счет капитализации стоимости  капитальных ремонтов зданий и сооружений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4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2025 </a:t>
            </a:r>
            <a:r>
              <a:rPr lang="ru-RU" dirty="0"/>
              <a:t>год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689000"/>
              </p:ext>
            </p:extLst>
          </p:nvPr>
        </p:nvGraphicFramePr>
        <p:xfrm>
          <a:off x="248355" y="1783849"/>
          <a:ext cx="11535611" cy="3280902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508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56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3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7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повышения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заработной плат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5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58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1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9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41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0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увеличения стоимости услуг ЭТП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тклонения отсутствуют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57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6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увеличения численности персонал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63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 73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4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07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99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94 2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67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73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736433"/>
              </p:ext>
            </p:extLst>
          </p:nvPr>
        </p:nvGraphicFramePr>
        <p:xfrm>
          <a:off x="247224" y="1077910"/>
          <a:ext cx="11544300" cy="688064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xmlns="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xmlns="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xmlns="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xmlns="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xmlns="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xmlns="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xmlns="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е (приказ 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№ 85-ОД от 04.11.202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)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347250"/>
              </p:ext>
            </p:extLst>
          </p:nvPr>
        </p:nvGraphicFramePr>
        <p:xfrm>
          <a:off x="239668" y="5064751"/>
          <a:ext cx="11539378" cy="1299545"/>
        </p:xfrm>
        <a:graphic>
          <a:graphicData uri="http://schemas.openxmlformats.org/drawingml/2006/table">
            <a:tbl>
              <a:tblPr/>
              <a:tblGrid>
                <a:gridCol w="3439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47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0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3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670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499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45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573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05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меньшение 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мов произошло за счет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меньшения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проса потребителей тепловой энерг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5948"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ний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иф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65,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3,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8766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риф (без НДС) по 31 декабря 2025 год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8,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8,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51,7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4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2025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834732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362389"/>
            <a:ext cx="11292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В результате проведенных капитальных ремонтов АО «ЕЭК» достигнуты следующие показатели</a:t>
            </a:r>
            <a:endParaRPr lang="ru-RU" sz="1600" dirty="0"/>
          </a:p>
        </p:txBody>
      </p:sp>
      <p:grpSp>
        <p:nvGrpSpPr>
          <p:cNvPr id="23" name="Group 481"/>
          <p:cNvGrpSpPr/>
          <p:nvPr/>
        </p:nvGrpSpPr>
        <p:grpSpPr>
          <a:xfrm>
            <a:off x="462199" y="757231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294885"/>
              </p:ext>
            </p:extLst>
          </p:nvPr>
        </p:nvGraphicFramePr>
        <p:xfrm>
          <a:off x="392528" y="1700943"/>
          <a:ext cx="11280028" cy="2159403"/>
        </p:xfrm>
        <a:graphic>
          <a:graphicData uri="http://schemas.openxmlformats.org/drawingml/2006/table">
            <a:tbl>
              <a:tblPr/>
              <a:tblGrid>
                <a:gridCol w="251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777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663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2411">
                  <a:extLst>
                    <a:ext uri="{9D8B030D-6E8A-4147-A177-3AD203B41FA5}">
                      <a16:colId xmlns:a16="http://schemas.microsoft.com/office/drawing/2014/main" xmlns="" val="1317127961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09154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2227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5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дежности и качеств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 года, предшествующего отчетному периоду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блюдения показателей 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облюдени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20,8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мероприятий, предусмотренных в утвержденной инвестиционной программе позволили снизить уровень износа: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ного и пикового бойлеров блока №2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10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ного и пикового бойлеров блока №4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24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СН-3 на 2,7 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№ 5 на 37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№ 6 на 30,2%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176605"/>
              </p:ext>
            </p:extLst>
          </p:nvPr>
        </p:nvGraphicFramePr>
        <p:xfrm>
          <a:off x="392528" y="4153036"/>
          <a:ext cx="11280027" cy="2159403"/>
        </p:xfrm>
        <a:graphic>
          <a:graphicData uri="http://schemas.openxmlformats.org/drawingml/2006/table">
            <a:tbl>
              <a:tblPr/>
              <a:tblGrid>
                <a:gridCol w="2512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69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50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1120">
                  <a:extLst>
                    <a:ext uri="{9D8B030D-6E8A-4147-A177-3AD203B41FA5}">
                      <a16:colId xmlns:a16="http://schemas.microsoft.com/office/drawing/2014/main" xmlns="" val="2777463631"/>
                    </a:ext>
                  </a:extLst>
                </a:gridCol>
                <a:gridCol w="12540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1002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1356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19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акт года, предшествующего отчетному периоду</a:t>
                      </a:r>
                    </a:p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20,8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мероприятий, предусмотренных в утвержденной инвестиционной программе позволили снизить уровень износа: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ного и пикового бойлеров блока №2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10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ного и пикового бойлеров блока №4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24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СН-3 на 2,7 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№ 5 на 37%,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тевого насоса № 6 на 30,2%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18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8" name="Слайд think-cell" r:id="rId26" imgW="594" imgH="595" progId="TCLayout.ActiveDocument.1">
                  <p:embed/>
                </p:oleObj>
              </mc:Choice>
              <mc:Fallback>
                <p:oleObj name="Слайд think-cell" r:id="rId2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2025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68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9376158"/>
              </p:ext>
            </p:extLst>
          </p:nvPr>
        </p:nvGraphicFramePr>
        <p:xfrm>
          <a:off x="2141538" y="2343150"/>
          <a:ext cx="3803650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10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5261216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1963" y="5210454"/>
            <a:ext cx="152241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23830601"/>
              </p:ext>
            </p:extLst>
          </p:nvPr>
        </p:nvGraphicFramePr>
        <p:xfrm>
          <a:off x="1654175" y="4284663"/>
          <a:ext cx="2960688" cy="89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86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78973670"/>
              </p:ext>
            </p:extLst>
          </p:nvPr>
        </p:nvGraphicFramePr>
        <p:xfrm>
          <a:off x="1366838" y="4859338"/>
          <a:ext cx="2960687" cy="1071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 bwMode="auto">
          <a:xfrm>
            <a:off x="1504950" y="5160964"/>
            <a:ext cx="6604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C64EE96-DD66-433C-B31B-48950CE5CF10}" type="datetime'''c'''''' 0''''1''.0''''''1''''''.''''''''''''2''''''025'''">
              <a:rPr lang="en-US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 01.01.202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8"/>
            </p:custDataLst>
          </p:nvPr>
        </p:nvSpPr>
        <p:spPr bwMode="auto">
          <a:xfrm>
            <a:off x="1504950" y="5492751"/>
            <a:ext cx="6604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CD9EC9-D177-4513-9CD0-17505D316C57}" type="datetime'''c'' ''''''''''''''0''''1''.0''''''8''''.2''02''''''''5'">
              <a:rPr lang="en-US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 01.08.202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7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60359697"/>
              </p:ext>
            </p:extLst>
          </p:nvPr>
        </p:nvGraphicFramePr>
        <p:xfrm>
          <a:off x="2141538" y="3598863"/>
          <a:ext cx="1755775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2025 год  </a:t>
            </a:r>
            <a:r>
              <a:rPr lang="ru-RU" sz="1200" b="1" dirty="0" smtClean="0">
                <a:solidFill>
                  <a:schemeClr val="accent1"/>
                </a:solidFill>
              </a:rPr>
              <a:t>43 058 </a:t>
            </a:r>
            <a:r>
              <a:rPr lang="ru-RU" sz="1200" b="0" dirty="0" smtClean="0">
                <a:solidFill>
                  <a:schemeClr val="accent1"/>
                </a:solidFill>
              </a:rPr>
              <a:t>Гкал</a:t>
            </a:r>
          </a:p>
        </p:txBody>
      </p:sp>
      <p:graphicFrame>
        <p:nvGraphicFramePr>
          <p:cNvPr id="14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7179986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6" name="Прямоугольник 25"/>
          <p:cNvSpPr/>
          <p:nvPr>
            <p:custDataLst>
              <p:tags r:id="rId11"/>
            </p:custDataLst>
          </p:nvPr>
        </p:nvSpPr>
        <p:spPr bwMode="gray">
          <a:xfrm>
            <a:off x="8739188" y="2722562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564EF2-0E9F-4480-94A3-CE6FA85FF10E}" type="datetime'1''''''''''''''''''''''''''''''''''2''''''''''''''''''2'''">
              <a:rPr lang="ru-RU" altLang="en-US" sz="900" smtClean="0">
                <a:solidFill>
                  <a:schemeClr val="tx1"/>
                </a:solidFill>
              </a:rPr>
              <a:pPr/>
              <a:t>122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0D701569-8F81-41A5-B91D-F96F5AED73F3}" type="datetime'''''''''0''''''''''''%''''''''''''''''''''''''''''''''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2"/>
            </p:custDataLst>
          </p:nvPr>
        </p:nvSpPr>
        <p:spPr bwMode="gray">
          <a:xfrm>
            <a:off x="9934575" y="3856037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91FFEC3-98F5-4B43-A5A1-868698527E4D}" type="datetime'''''2''''5'' ''''''''0''''''6''''''''''''''''''9'''''">
              <a:rPr lang="ru-RU" altLang="en-US" sz="900" smtClean="0">
                <a:solidFill>
                  <a:schemeClr val="bg1"/>
                </a:solidFill>
              </a:rPr>
              <a:pPr/>
              <a:t>25 069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392DE3F-9960-44E8-8BFB-8E304DC1F69C}" type="datetime'''''''5''''''''''''''''''''8''''''%'''''''''''''''''">
              <a:rPr lang="ru-RU" altLang="en-US" sz="900" smtClean="0">
                <a:solidFill>
                  <a:schemeClr val="bg1"/>
                </a:solidFill>
              </a:rPr>
              <a:pPr/>
              <a:t>5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13"/>
            </p:custDataLst>
          </p:nvPr>
        </p:nvSpPr>
        <p:spPr bwMode="gray">
          <a:xfrm>
            <a:off x="8121650" y="4414837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232F7D-7014-44BB-AF13-F832462BC99D}" type="datetime'''''''''''''2'''''''''''''''' ''''9''''''''7''4'''''''''''''''">
              <a:rPr lang="ru-RU" altLang="en-US" sz="900" smtClean="0">
                <a:solidFill>
                  <a:schemeClr val="bg1"/>
                </a:solidFill>
              </a:rPr>
              <a:pPr/>
              <a:t>2 974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AEE20083-3B53-4B38-AAB2-769D6E37CE42}" type="datetime'''''''''''''7''''''''''''''''''''''''''''%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96" name="Прямоугольник 95"/>
          <p:cNvSpPr/>
          <p:nvPr>
            <p:custDataLst>
              <p:tags r:id="rId14"/>
            </p:custDataLst>
          </p:nvPr>
        </p:nvSpPr>
        <p:spPr bwMode="gray">
          <a:xfrm>
            <a:off x="7926388" y="4167187"/>
            <a:ext cx="273050" cy="247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8869C3-9B28-441D-9DFA-0FEEB7C683F7}" type="datetime'''''9''9''0'''''''''''">
              <a:rPr lang="ru-RU" altLang="en-US" sz="900" smtClean="0">
                <a:solidFill>
                  <a:schemeClr val="tx1"/>
                </a:solidFill>
              </a:rPr>
              <a:pPr/>
              <a:t>990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00669B25-250F-450D-AE1D-FE64D9842B7E}" type="datetime'''''''''''''2''''''''''''%'''''''''">
              <a:rPr lang="ru-RU" altLang="en-US" sz="900" smtClean="0">
                <a:solidFill>
                  <a:schemeClr val="tx1"/>
                </a:solidFill>
              </a:rPr>
              <a:pPr/>
              <a:t>2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15"/>
            </p:custDataLst>
          </p:nvPr>
        </p:nvSpPr>
        <p:spPr bwMode="gray">
          <a:xfrm>
            <a:off x="7789863" y="3217862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584FBD-40F8-4FD6-BCEB-6E4C546719A5}" type="datetime'''''''''''''''''1''''''''''''''0'''''''' ''''9''1''''2'">
              <a:rPr lang="ru-RU" altLang="en-US" sz="900" smtClean="0">
                <a:solidFill>
                  <a:schemeClr val="bg1"/>
                </a:solidFill>
              </a:rPr>
              <a:pPr/>
              <a:t>10 912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3B499D59-26D3-40CD-878D-39891DAFDF99}" type="datetime'''2''''''''''''''''''''''''''''''5%'''''''''''''">
              <a:rPr lang="ru-RU" altLang="en-US" sz="900" smtClean="0">
                <a:solidFill>
                  <a:schemeClr val="bg1"/>
                </a:solidFill>
              </a:rPr>
              <a:pPr/>
              <a:t>25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16"/>
            </p:custDataLst>
          </p:nvPr>
        </p:nvSpPr>
        <p:spPr bwMode="gray">
          <a:xfrm>
            <a:off x="8510588" y="2474912"/>
            <a:ext cx="317500" cy="247650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226A8E-235D-41AD-A8A2-666B0052AEB0}" type="datetime'''''''''''1'''''''''''' ''''''''73''''8'''">
              <a:rPr lang="ru-RU" altLang="en-US" sz="900" smtClean="0">
                <a:solidFill>
                  <a:schemeClr val="bg1"/>
                </a:solidFill>
              </a:rPr>
              <a:pPr/>
              <a:t>1 738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7B29D0D3-E1EC-4BBA-AAD9-F7530637DC77}" type="datetime'''''''''4''''%'''''''''''''''">
              <a:rPr lang="ru-RU" altLang="en-US" sz="900" smtClean="0">
                <a:solidFill>
                  <a:schemeClr val="bg1"/>
                </a:solidFill>
              </a:rPr>
              <a:pPr/>
              <a:t>4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7"/>
            </p:custDataLst>
          </p:nvPr>
        </p:nvSpPr>
        <p:spPr bwMode="gray">
          <a:xfrm>
            <a:off x="8826500" y="2970213"/>
            <a:ext cx="317500" cy="247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4A23EE-91DA-4944-A2BB-4F01572F1850}" type="datetime'''1'''''''''''''''''''''' ''''''25''''3'''''''''''''">
              <a:rPr lang="ru-RU" altLang="en-US" sz="900" smtClean="0">
                <a:solidFill>
                  <a:schemeClr val="bg1"/>
                </a:solidFill>
              </a:rPr>
              <a:pPr/>
              <a:t>1 25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1E9F9692-8A93-461E-9863-9E11D58C1457}" type="datetime'''''''''''''''''''3''''''''''''''''''%'''''''''''''''''''">
              <a:rPr lang="ru-RU" altLang="en-US" sz="900" smtClean="0">
                <a:solidFill>
                  <a:schemeClr val="bg1"/>
                </a:solidFill>
              </a:rPr>
              <a:pPr/>
              <a:t>3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18"/>
            </p:custDataLst>
          </p:nvPr>
        </p:nvSpPr>
        <p:spPr bwMode="auto">
          <a:xfrm>
            <a:off x="6665913" y="2301875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C675CA8-F206-4DA2-A435-B5CCF306CBFA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9"/>
            </p:custDataLst>
          </p:nvPr>
        </p:nvSpPr>
        <p:spPr bwMode="auto">
          <a:xfrm>
            <a:off x="10390188" y="3994150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0915D99-D9FB-4447-B867-A59D01935405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20"/>
            </p:custDataLst>
          </p:nvPr>
        </p:nvSpPr>
        <p:spPr bwMode="auto">
          <a:xfrm>
            <a:off x="7059613" y="4708525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FC43BA5-E7E6-435D-B66A-34E527FF185F}" type="datetime'''Т''''''''О''''''''О ''&quot;''Г''''РЭ''''''ССТР''О''''''Й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1"/>
            </p:custDataLst>
          </p:nvPr>
        </p:nvSpPr>
        <p:spPr bwMode="auto">
          <a:xfrm>
            <a:off x="7231063" y="4384675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75B392A-F183-41C7-B1FD-6D559256821B}" type="datetime' ''''''''''А''''''''О ''''''''''''''''''''''''&quot;ПР''''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22"/>
            </p:custDataLst>
          </p:nvPr>
        </p:nvSpPr>
        <p:spPr bwMode="auto">
          <a:xfrm>
            <a:off x="7850188" y="2165350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4156374-4010-43F0-A189-A3525BB36A81}" type="datetime''''''''' Т''''ОО'' ''''&quot;''''LA''''''VAG''''GIO&quot;''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23"/>
            </p:custDataLst>
          </p:nvPr>
        </p:nvSpPr>
        <p:spPr bwMode="auto">
          <a:xfrm>
            <a:off x="6589713" y="307498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0F3075A-2D71-4C56-BFC7-DAC1703CC3A8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24"/>
            </p:custDataLst>
          </p:nvPr>
        </p:nvSpPr>
        <p:spPr bwMode="auto">
          <a:xfrm>
            <a:off x="8885238" y="2197100"/>
            <a:ext cx="14065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6B48721-1B8C-4DBC-AF66-6DDE2664DFC1}" type="datetime'ТО''''О ''''''&quot;''''''ГИ''Д''Р''ОСЕР''ВИС''''-Р''''К''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ТОО "ГИДРОСЕРВИС-Р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382631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 </a:t>
            </a:r>
            <a:endParaRPr lang="ru-RU" sz="9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1351008" y="2874113"/>
            <a:ext cx="516935" cy="2084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23139" y="4573072"/>
            <a:ext cx="428322" cy="3693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721191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07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36971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5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В 2025 году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</a:t>
            </a:r>
            <a:r>
              <a:rPr lang="ru-RU" sz="1400" dirty="0" smtClean="0"/>
              <a:t>задействованном </a:t>
            </a:r>
            <a:r>
              <a:rPr lang="ru-RU" sz="1400" dirty="0"/>
              <a:t>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552280" y="1874838"/>
            <a:ext cx="2532954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1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состав и качество питьевой воды, параметры 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воды и тепла 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водо- и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30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3QJQ30t2c4hCOLPhjh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qB1mxpEj73zZ7Vsxf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o5uPtJEfWRdWU_Dumf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rIzTH.1Tbv1TNEdDbH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EiJ3GOpBNnSi91kXZ26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JdWte7Ic4qlI5I5iNC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TgpPwRGKOrXEkQzJrO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s7YjwqsdLH_gxb8Gvo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MgEqFVDr.arUCIRIr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KNrSrdP5jmFSH3HkX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YzPKUFD3LuIyFcsE4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wDDLyMsd5v_HzBGddN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XBGRS27uruUYwTep8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FwbZqenuaMbwrnham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x3gsObGqnI3Eh9emza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vHMqbHMwQ2f.Eg3Hw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5EE0E1E-0B15-4740-95FC-5FF23274634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930</TotalTime>
  <Words>2096</Words>
  <Application>Microsoft Office PowerPoint</Application>
  <PresentationFormat>Широкоэкранный</PresentationFormat>
  <Paragraphs>586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(Основной текст)</vt:lpstr>
      <vt:lpstr>Calibri</vt:lpstr>
      <vt:lpstr>Montserrat</vt:lpstr>
      <vt:lpstr>Open Sans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на  2025 год по итогам 2025 года</vt:lpstr>
      <vt:lpstr>ЕЭК: Информация о постатейном исполнении утвержденной тарифной сметы по производству тепловой энергии за 2025 год</vt:lpstr>
      <vt:lpstr>ЕЭК: Отчет о постатейном исполнении утвержденной тарифной сметы по производству тепловой энергии за 2025 год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2025 год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2025 год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Информация об оказываемой услуге – подача воды по распределительным сетям (малая мощность)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428</cp:revision>
  <cp:lastPrinted>2024-04-24T05:02:58Z</cp:lastPrinted>
  <dcterms:created xsi:type="dcterms:W3CDTF">2017-11-25T12:09:27Z</dcterms:created>
  <dcterms:modified xsi:type="dcterms:W3CDTF">2026-04-16T04:3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